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5"/>
  </p:notesMasterIdLst>
  <p:sldIdLst>
    <p:sldId id="523" r:id="rId2"/>
    <p:sldId id="286" r:id="rId3"/>
    <p:sldId id="314" r:id="rId4"/>
    <p:sldId id="312" r:id="rId5"/>
    <p:sldId id="328" r:id="rId6"/>
    <p:sldId id="310" r:id="rId7"/>
    <p:sldId id="522" r:id="rId8"/>
    <p:sldId id="527" r:id="rId9"/>
    <p:sldId id="526" r:id="rId10"/>
    <p:sldId id="333" r:id="rId11"/>
    <p:sldId id="257" r:id="rId12"/>
    <p:sldId id="524" r:id="rId13"/>
    <p:sldId id="525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897"/>
    <p:restoredTop sz="91507"/>
  </p:normalViewPr>
  <p:slideViewPr>
    <p:cSldViewPr snapToGrid="0">
      <p:cViewPr varScale="1">
        <p:scale>
          <a:sx n="63" d="100"/>
          <a:sy n="63" d="100"/>
        </p:scale>
        <p:origin x="907" y="2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213BEF-03D2-4649-A746-3EA8DB133487}" type="datetimeFigureOut">
              <a:rPr lang="en-US" smtClean="0"/>
              <a:t>9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D9268-119D-CD4D-827F-4F8F3E0601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3048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AEF98D-224F-0DEC-9F3D-BFFF5C6C3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55FCA0-268F-8108-4B74-D2C89D1C18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56CE98-956C-8502-0B4C-76F512A0E1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E07615-5619-FEEE-1365-08248A8BA8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Proprietary &amp;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B5F680-FED1-60D8-B76E-97F963F05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EE1997-5BF4-4D4B-9492-732C1F5B35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7423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93CB1-175E-1B75-FD2E-B33908990E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F3CA3E-C18A-3E35-3F7F-1C30FBCA78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D93FC5-B35A-6982-6A2D-F031EDD3E5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35AC2E-835B-2971-E282-BF3CFA8C86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Proprietary &amp;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6F5F98-29EB-7C1B-A860-A4BCE5E82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EE1997-5BF4-4D4B-9492-732C1F5B35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2465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7AA6C2E-5D4B-BF39-7A2E-10346C551D5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3218474-9814-2C1B-ACCB-D6FB096BB7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81D953-8BA2-78D8-EDFA-29B50CA502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2FCAD5-FCA8-39AD-0CE1-C78E840720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Proprietary &amp;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D7E85A-0B13-BB6B-8E7D-FCE50EFFC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EE1997-5BF4-4D4B-9492-732C1F5B35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7266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281E6C-A841-2148-AC26-FF7B5B689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EA6E0-ACB3-C744-814F-68814E5220C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D2DE192-AF76-A84C-982C-D8F941152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0213" y="383414"/>
            <a:ext cx="8172000" cy="396000"/>
          </a:xfrm>
          <a:prstGeom prst="rect">
            <a:avLst/>
          </a:prstGeom>
        </p:spPr>
        <p:txBody>
          <a:bodyPr lIns="90000" rIns="0"/>
          <a:lstStyle>
            <a:lvl1pPr algn="r">
              <a:defRPr sz="2400"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767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2554E4-0E86-E3E8-0D35-95DA13FED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6BEA03-B058-D352-42C7-A03D7F668E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570C97-3F8D-0D19-C0DB-F764D3BAD5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8527D2-DCCE-1653-3360-82A5D2CB5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Proprietary &amp;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7EB39C-FBCA-0C85-4F35-A5AAFAC4A6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EE1997-5BF4-4D4B-9492-732C1F5B35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0891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C637BD-F6B8-42AA-20AC-A4A45673F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25A2F3-1CCE-BAB8-1CB5-1BA746FE2C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6F91B7-ABFE-A49A-8600-DF220478A7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B0A36D-9D20-B339-9448-F45A88AA02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Proprietary &amp;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7AC1E-6B48-C989-4775-0EBEB00E2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EE1997-5BF4-4D4B-9492-732C1F5B35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2758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212D41-21EA-4556-CAF9-34FDAD7716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89FBE4-E77C-D733-57FE-0975CDCC0C8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64C56D-13F3-7617-CC1E-632169AE28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A2F558-B6C9-B9EA-20FD-37FE752A41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EB35BF-0EF7-8345-E0E4-9E1557A55C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Proprietary &amp;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251033-0E93-593C-99C3-9929FE20B5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EE1997-5BF4-4D4B-9492-732C1F5B35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7905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8BC0B-A99F-A2FA-B119-99F42F3BC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B21A68-53BD-8CCF-B4AA-CC554961AB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85D895-DAB5-B948-8219-4A8E2B6706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A40E5F-1538-4287-A9DD-558DECCF426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7754858-DD24-921B-48DB-7F4C4E2DD07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B383903-6DCA-CDC0-E4B5-CB3D17DA9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25BCF7A-1913-D5A3-D173-A9319CFF96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Proprietary &amp;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26567F5-739A-3D04-246B-228E7F537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EE1997-5BF4-4D4B-9492-732C1F5B35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3928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64DB9-EA05-D227-B493-5D6C72AAAF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DDE821-86C4-5E89-8670-8AFFF275E6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2F3774-6925-41E8-8DE9-02BA821E7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Proprietary &amp;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31432A-A950-1C41-BE17-906C2F4B6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EE1997-5BF4-4D4B-9492-732C1F5B35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523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858537-98BA-1B76-FB35-54687A6717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3354A5-87FE-09A1-BEFE-087103C49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Proprietary &amp;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A77F87-9AC1-457C-9CD6-6C5B20CA72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EE1997-5BF4-4D4B-9492-732C1F5B35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056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75A267-E2CB-42EA-67BC-1E91F68E0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1D6F50-A378-0776-865D-4DA815C648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681568-615C-0A90-7272-D94330E805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B30099-6F69-132E-372B-718853774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767B9F-A086-E107-054C-C79451709E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Proprietary &amp;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F4F2FE-DDBE-B275-7C4F-4FFF6A5F1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EE1997-5BF4-4D4B-9492-732C1F5B35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5617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9E4F19-3D54-174D-0C9F-6D30560ED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824BEFA-02F7-1C8D-0005-C06FCFB225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EF7C95-E504-F7D6-04A3-C142E2F190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FD2D5F-055E-EFAE-9AB6-8423582AB1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EB863DD-DE05-1DF0-5D1B-E52FB927ED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Proprietary &amp;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804E1E-CB1C-FF95-6844-F45D551DA6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EE1997-5BF4-4D4B-9492-732C1F5B35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298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9D2BB42-8F2F-9403-BE81-67E18408D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37DF83-FCC4-353C-F690-79BED2C6FD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BDCEDB-6C42-A587-AB20-5334B20C59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4FF57A-4B26-5FDB-B4FF-44481E1F10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© 2025 Proprietary &amp;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63E45A-6181-AB28-EB72-FA2598FAD8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EE1997-5BF4-4D4B-9492-732C1F5B35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802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6F5A5072-7B47-4D32-B52A-4EBBF590B8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15DAF0-AE1B-46C9-8A6B-DB2AA05AB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2" y="-22693"/>
            <a:ext cx="12191999" cy="4374129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016219D-510E-4184-9090-6D5578A87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908719" y="-3931841"/>
            <a:ext cx="4374557" cy="12192000"/>
          </a:xfrm>
          <a:prstGeom prst="rect">
            <a:avLst/>
          </a:prstGeom>
          <a:gradFill>
            <a:gsLst>
              <a:gs pos="40000">
                <a:schemeClr val="accent1">
                  <a:alpha val="0"/>
                </a:schemeClr>
              </a:gs>
              <a:gs pos="100000">
                <a:schemeClr val="accent1">
                  <a:lumMod val="75000"/>
                  <a:alpha val="52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FF4A713-7B75-4B21-90D7-5AB19547C7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136696" y="-3703868"/>
            <a:ext cx="4374128" cy="11736479"/>
          </a:xfrm>
          <a:prstGeom prst="rect">
            <a:avLst/>
          </a:prstGeom>
          <a:gradFill>
            <a:gsLst>
              <a:gs pos="17000">
                <a:schemeClr val="accent1">
                  <a:alpha val="0"/>
                </a:schemeClr>
              </a:gs>
              <a:gs pos="100000">
                <a:srgbClr val="000000">
                  <a:alpha val="37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C631C0B-6DA6-4E57-8231-CE32B3434A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5" y="-22690"/>
            <a:ext cx="8542485" cy="4374126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2500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29501E6-A978-4A61-9689-9085AF97A5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2508972">
            <a:off x="5945431" y="-1032053"/>
            <a:ext cx="4990147" cy="4439131"/>
          </a:xfrm>
          <a:custGeom>
            <a:avLst/>
            <a:gdLst>
              <a:gd name="connsiteX0" fmla="*/ 4990147 w 4990147"/>
              <a:gd name="connsiteY0" fmla="*/ 2229378 h 4439131"/>
              <a:gd name="connsiteX1" fmla="*/ 917384 w 4990147"/>
              <a:gd name="connsiteY1" fmla="*/ 4439131 h 4439131"/>
              <a:gd name="connsiteX2" fmla="*/ 910814 w 4990147"/>
              <a:gd name="connsiteY2" fmla="*/ 4434219 h 4439131"/>
              <a:gd name="connsiteX3" fmla="*/ 0 w 4990147"/>
              <a:gd name="connsiteY3" fmla="*/ 2502877 h 4439131"/>
              <a:gd name="connsiteX4" fmla="*/ 2502877 w 4990147"/>
              <a:gd name="connsiteY4" fmla="*/ 0 h 4439131"/>
              <a:gd name="connsiteX5" fmla="*/ 4954904 w 4990147"/>
              <a:gd name="connsiteY5" fmla="*/ 1998460 h 443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0147" h="4439131">
                <a:moveTo>
                  <a:pt x="4990147" y="2229378"/>
                </a:moveTo>
                <a:lnTo>
                  <a:pt x="917384" y="4439131"/>
                </a:lnTo>
                <a:lnTo>
                  <a:pt x="910814" y="4434219"/>
                </a:lnTo>
                <a:cubicBezTo>
                  <a:pt x="354557" y="3975154"/>
                  <a:pt x="0" y="3280421"/>
                  <a:pt x="0" y="2502877"/>
                </a:cubicBezTo>
                <a:cubicBezTo>
                  <a:pt x="0" y="1120576"/>
                  <a:pt x="1120576" y="0"/>
                  <a:pt x="2502877" y="0"/>
                </a:cubicBezTo>
                <a:cubicBezTo>
                  <a:pt x="3712390" y="0"/>
                  <a:pt x="4721520" y="857941"/>
                  <a:pt x="4954904" y="1998460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22000"/>
                </a:schemeClr>
              </a:gs>
              <a:gs pos="87000">
                <a:schemeClr val="accent1">
                  <a:lumMod val="60000"/>
                  <a:lumOff val="40000"/>
                  <a:alpha val="2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4D2C59-D27A-CCAC-FA8D-F07E575766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14824" y="735106"/>
            <a:ext cx="10053763" cy="2928470"/>
          </a:xfrm>
        </p:spPr>
        <p:txBody>
          <a:bodyPr anchor="b">
            <a:normAutofit/>
          </a:bodyPr>
          <a:lstStyle/>
          <a:p>
            <a:pPr algn="l"/>
            <a:r>
              <a:rPr lang="en-US" sz="4800">
                <a:solidFill>
                  <a:srgbClr val="FFFFFF"/>
                </a:solidFill>
              </a:rPr>
              <a:t>The CFN </a:t>
            </a:r>
            <a:r>
              <a:rPr lang="en-US" sz="4800" dirty="0">
                <a:solidFill>
                  <a:srgbClr val="FFFFFF"/>
                </a:solidFill>
              </a:rPr>
              <a:t>- The World of ET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2FAE28-E51E-1D88-A76D-CDDC0AD58D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50682" y="4870824"/>
            <a:ext cx="10005951" cy="1458258"/>
          </a:xfrm>
        </p:spPr>
        <p:txBody>
          <a:bodyPr anchor="ctr">
            <a:normAutofit/>
          </a:bodyPr>
          <a:lstStyle/>
          <a:p>
            <a:pPr algn="l"/>
            <a:r>
              <a:rPr lang="en-US"/>
              <a:t>Simon Webster</a:t>
            </a:r>
          </a:p>
        </p:txBody>
      </p:sp>
    </p:spTree>
    <p:extLst>
      <p:ext uri="{BB962C8B-B14F-4D97-AF65-F5344CB8AC3E}">
        <p14:creationId xmlns:p14="http://schemas.microsoft.com/office/powerpoint/2010/main" val="12543524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29A2110-F4F4-9524-F64A-B2506EF4FF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632" y="1292005"/>
            <a:ext cx="6716272" cy="427399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5BA9E6F-5627-B671-1F4E-F1B33391E0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4655" y="484632"/>
            <a:ext cx="4094005" cy="58887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344D34-DE35-618A-177B-A2BCE4F846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EA6E0-ACB3-C744-814F-68814E5220CF}" type="slidenum">
              <a:rPr lang="en-US" smtClean="0"/>
              <a:t>10</a:t>
            </a:fld>
            <a:endParaRPr lang="en-US" dirty="0"/>
          </a:p>
        </p:txBody>
      </p:sp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E2D960F5-31AC-DEA4-1132-853D3F561E39}"/>
              </a:ext>
            </a:extLst>
          </p:cNvPr>
          <p:cNvSpPr txBox="1">
            <a:spLocks/>
          </p:cNvSpPr>
          <p:nvPr/>
        </p:nvSpPr>
        <p:spPr>
          <a:xfrm>
            <a:off x="4038600" y="6411981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/>
              <a:t>© 2025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108758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B010EC-4513-7658-2D98-068637C0E2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Growth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C17300-A60D-C1B9-4919-92C81EF161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2428" y="848376"/>
            <a:ext cx="7225748" cy="5161248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2DA0D5-9D7B-20A6-1815-EFD2DF42F5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EE1997-5BF4-4D4B-9492-732C1F5B35B8}" type="slidenum">
              <a:rPr lang="en-US" smtClean="0"/>
              <a:t>11</a:t>
            </a:fld>
            <a:endParaRPr lang="en-US"/>
          </a:p>
        </p:txBody>
      </p:sp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B2813064-7B2C-2E9C-713C-292D3EC596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33804" y="6371410"/>
            <a:ext cx="4114800" cy="365125"/>
          </a:xfrm>
        </p:spPr>
        <p:txBody>
          <a:bodyPr/>
          <a:lstStyle/>
          <a:p>
            <a:r>
              <a:rPr lang="en-US" dirty="0"/>
              <a:t>© 2025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347730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B010EC-4513-7658-2D98-068637C0E2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earcher backgrounds</a:t>
            </a:r>
          </a:p>
        </p:txBody>
      </p:sp>
      <p:pic>
        <p:nvPicPr>
          <p:cNvPr id="6" name="Picture 5" descr="A table with numbers and text&#10;&#10;Description automatically generated">
            <a:extLst>
              <a:ext uri="{FF2B5EF4-FFF2-40B4-BE49-F238E27FC236}">
                <a16:creationId xmlns:a16="http://schemas.microsoft.com/office/drawing/2014/main" id="{109F72E6-5A17-8C50-E839-F6931A8DF1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9387" y="467208"/>
            <a:ext cx="5671830" cy="5923584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4A4D2B9-B6FB-77E0-6422-E657DD7D9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EE1997-5BF4-4D4B-9492-732C1F5B35B8}" type="slidenum">
              <a:rPr lang="en-US" smtClean="0"/>
              <a:t>12</a:t>
            </a:fld>
            <a:endParaRPr lang="en-US"/>
          </a:p>
        </p:txBody>
      </p:sp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56F082EE-4256-46B9-201C-3CABB1300823}"/>
              </a:ext>
            </a:extLst>
          </p:cNvPr>
          <p:cNvSpPr txBox="1">
            <a:spLocks/>
          </p:cNvSpPr>
          <p:nvPr/>
        </p:nvSpPr>
        <p:spPr>
          <a:xfrm>
            <a:off x="4303645" y="649067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© 2025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7113490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B010EC-4513-7658-2D98-068637C0E2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Returns</a:t>
            </a:r>
          </a:p>
        </p:txBody>
      </p:sp>
      <p:pic>
        <p:nvPicPr>
          <p:cNvPr id="5" name="Picture 4" descr="A graph of a study&#10;&#10;Description automatically generated with medium confidence">
            <a:extLst>
              <a:ext uri="{FF2B5EF4-FFF2-40B4-BE49-F238E27FC236}">
                <a16:creationId xmlns:a16="http://schemas.microsoft.com/office/drawing/2014/main" id="{2871104E-901F-83E8-A05C-2F9DD02C2D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4781" y="307835"/>
            <a:ext cx="6347045" cy="6397153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C0219E5-7ED0-8989-359F-E710E249F0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0678"/>
            <a:ext cx="4114800" cy="365125"/>
          </a:xfrm>
        </p:spPr>
        <p:txBody>
          <a:bodyPr/>
          <a:lstStyle/>
          <a:p>
            <a:r>
              <a:rPr lang="en-US" dirty="0"/>
              <a:t>© 2025 Proprietary &amp;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AEBD206-A47E-CB13-B8E0-130FF971C5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EE1997-5BF4-4D4B-9492-732C1F5B35B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3429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2DFCA1A-1778-47AF-80DD-F4273EFEEE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2DFCA1A-1778-47AF-80DD-F4273EFEE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80757A4-B520-46F2-B68C-5846AD973F3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CA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5D60F9-AB81-4DC0-9389-76F2701B6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EA6E0-ACB3-C744-814F-68814E5220CF}" type="slidenum">
              <a:rPr lang="en-US" smtClean="0"/>
              <a:t>2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1DF6EE-68E8-43E9-BF34-D15D898934F3}"/>
              </a:ext>
            </a:extLst>
          </p:cNvPr>
          <p:cNvSpPr/>
          <p:nvPr/>
        </p:nvSpPr>
        <p:spPr>
          <a:xfrm>
            <a:off x="2254646" y="1287686"/>
            <a:ext cx="7682711" cy="4282628"/>
          </a:xfrm>
          <a:prstGeom prst="rect">
            <a:avLst/>
          </a:prstGeom>
          <a:solidFill>
            <a:srgbClr val="FFFFFF"/>
          </a:solidFill>
          <a:ln w="15875">
            <a:solidFill>
              <a:srgbClr val="001E62"/>
            </a:solidFill>
          </a:ln>
          <a:effectLst>
            <a:outerShdw blurRad="50800" dist="35921" dir="2700002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CA" sz="1100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4A7FB9D-E14F-4503-86D4-6F3E17F887B6}"/>
              </a:ext>
            </a:extLst>
          </p:cNvPr>
          <p:cNvSpPr/>
          <p:nvPr/>
        </p:nvSpPr>
        <p:spPr>
          <a:xfrm>
            <a:off x="2418197" y="1443841"/>
            <a:ext cx="7355609" cy="344709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b="1" dirty="0">
                <a:solidFill>
                  <a:srgbClr val="001E62"/>
                </a:solidFill>
              </a:rPr>
              <a:t>Simon Webster</a:t>
            </a: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E62"/>
                </a:solidFill>
              </a:rPr>
              <a:t>MBA 1989 -1991 @ LBS</a:t>
            </a: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E62"/>
                </a:solidFill>
              </a:rPr>
              <a:t>Wanted to be an entrepreneur but… I did not have the ‘big’ idea</a:t>
            </a: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E62"/>
                </a:solidFill>
              </a:rPr>
              <a:t>Heard about - and decided to do - a (T)SF</a:t>
            </a: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E62"/>
                </a:solidFill>
              </a:rPr>
              <a:t>First outside the USA</a:t>
            </a: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E62"/>
                </a:solidFill>
              </a:rPr>
              <a:t>5th person Worldwide</a:t>
            </a:r>
          </a:p>
        </p:txBody>
      </p:sp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C59ACAE9-F5E6-1CE4-E603-E6F01CC6BEFD}"/>
              </a:ext>
            </a:extLst>
          </p:cNvPr>
          <p:cNvSpPr txBox="1">
            <a:spLocks/>
          </p:cNvSpPr>
          <p:nvPr/>
        </p:nvSpPr>
        <p:spPr>
          <a:xfrm>
            <a:off x="4038600" y="6411981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/>
              <a:t>© 2025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67469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CD0BD602-FF61-4A75-9EBE-A7F848D0DBFF}"/>
              </a:ext>
            </a:extLst>
          </p:cNvPr>
          <p:cNvSpPr/>
          <p:nvPr/>
        </p:nvSpPr>
        <p:spPr>
          <a:xfrm>
            <a:off x="1993385" y="975895"/>
            <a:ext cx="7994659" cy="5215334"/>
          </a:xfrm>
          <a:prstGeom prst="rect">
            <a:avLst/>
          </a:prstGeom>
          <a:solidFill>
            <a:srgbClr val="FFFFFF"/>
          </a:solidFill>
          <a:ln w="15875">
            <a:solidFill>
              <a:srgbClr val="001E62"/>
            </a:solidFill>
          </a:ln>
          <a:effectLst>
            <a:outerShdw blurRad="50800" dist="35921" dir="2700002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CA" sz="1100" dirty="0">
              <a:solidFill>
                <a:srgbClr val="000000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2DFCA1A-1778-47AF-80DD-F4273EFEEE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2DFCA1A-1778-47AF-80DD-F4273EFEE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80757A4-B520-46F2-B68C-5846AD973F3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CA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5D60F9-AB81-4DC0-9389-76F2701B6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EA6E0-ACB3-C744-814F-68814E5220CF}" type="slidenum">
              <a:rPr lang="en-US" smtClean="0"/>
              <a:t>3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4A7FB9D-E14F-4503-86D4-6F3E17F887B6}"/>
              </a:ext>
            </a:extLst>
          </p:cNvPr>
          <p:cNvSpPr/>
          <p:nvPr/>
        </p:nvSpPr>
        <p:spPr>
          <a:xfrm>
            <a:off x="2090174" y="1037928"/>
            <a:ext cx="7801078" cy="132343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000" b="1" dirty="0">
                <a:solidFill>
                  <a:srgbClr val="001E62"/>
                </a:solidFill>
              </a:rPr>
              <a:t>What did I do?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My search – 6 months fundraising, 3.5 year search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Bought a prosthetics and orthotics company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4E53AC82-F32C-48CA-AF32-85582E441E35}"/>
              </a:ext>
            </a:extLst>
          </p:cNvPr>
          <p:cNvGraphicFramePr>
            <a:graphicFrameLocks noGrp="1"/>
          </p:cNvGraphicFramePr>
          <p:nvPr/>
        </p:nvGraphicFramePr>
        <p:xfrm>
          <a:off x="2137385" y="2440909"/>
          <a:ext cx="7706656" cy="30788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523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853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688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2664">
                <a:tc>
                  <a:txBody>
                    <a:bodyPr/>
                    <a:lstStyle/>
                    <a:p>
                      <a:endParaRPr lang="en-GB" sz="18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chemeClr val="bg1"/>
                          </a:solidFill>
                        </a:rPr>
                        <a:t>Yea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chemeClr val="bg1"/>
                          </a:solidFill>
                        </a:rPr>
                        <a:t>Year 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2664"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rgbClr val="002A3A"/>
                          </a:solidFill>
                        </a:rPr>
                        <a:t>S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rgbClr val="002A3A"/>
                          </a:solidFill>
                        </a:rPr>
                        <a:t>£3.5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rgbClr val="002A3A"/>
                          </a:solidFill>
                        </a:rPr>
                        <a:t>£30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2664"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rgbClr val="002A3A"/>
                          </a:solidFill>
                        </a:rPr>
                        <a:t>EBIT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rgbClr val="002A3A"/>
                          </a:solidFill>
                        </a:rPr>
                        <a:t>£0.4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rgbClr val="002A3A"/>
                          </a:solidFill>
                        </a:rPr>
                        <a:t>£2.5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15555"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rgbClr val="002A3A"/>
                          </a:solidFill>
                        </a:rPr>
                        <a:t>Market:</a:t>
                      </a:r>
                    </a:p>
                    <a:p>
                      <a:r>
                        <a:rPr lang="en-GB" sz="1800" dirty="0">
                          <a:solidFill>
                            <a:srgbClr val="002A3A"/>
                          </a:solidFill>
                        </a:rPr>
                        <a:t>Prosthetic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800" dirty="0">
                        <a:solidFill>
                          <a:srgbClr val="002A3A"/>
                        </a:solidFill>
                      </a:endParaRPr>
                    </a:p>
                    <a:p>
                      <a:r>
                        <a:rPr lang="en-GB" sz="1800" dirty="0">
                          <a:solidFill>
                            <a:srgbClr val="002A3A"/>
                          </a:solidFill>
                        </a:rPr>
                        <a:t>8%  16 play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800" dirty="0">
                        <a:solidFill>
                          <a:srgbClr val="002A3A"/>
                        </a:solidFill>
                      </a:endParaRPr>
                    </a:p>
                    <a:p>
                      <a:r>
                        <a:rPr lang="en-GB" sz="1800" dirty="0">
                          <a:solidFill>
                            <a:srgbClr val="002A3A"/>
                          </a:solidFill>
                        </a:rPr>
                        <a:t>30%  Large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2664"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rgbClr val="002A3A"/>
                          </a:solidFill>
                        </a:rPr>
                        <a:t>Ortho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rgbClr val="002A3A"/>
                          </a:solidFill>
                        </a:rPr>
                        <a:t>0%  1 Clinici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rgbClr val="002A3A"/>
                          </a:solidFill>
                        </a:rPr>
                        <a:t>12%  Larges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2664"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rgbClr val="002A3A"/>
                          </a:solidFill>
                        </a:rPr>
                        <a:t>Employ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rgbClr val="002A3A"/>
                          </a:solidFill>
                        </a:rPr>
                        <a:t>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rgbClr val="002A3A"/>
                          </a:solidFill>
                        </a:rPr>
                        <a:t>4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04F5ED17-A9A5-4149-B5B1-608208D7738A}"/>
              </a:ext>
            </a:extLst>
          </p:cNvPr>
          <p:cNvSpPr/>
          <p:nvPr/>
        </p:nvSpPr>
        <p:spPr>
          <a:xfrm>
            <a:off x="2090174" y="5598037"/>
            <a:ext cx="7801078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Sold to PE and stayed as CEO for 2 years</a:t>
            </a:r>
          </a:p>
        </p:txBody>
      </p:sp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4D077A02-0220-2DC7-4E52-254BFAB96BB1}"/>
              </a:ext>
            </a:extLst>
          </p:cNvPr>
          <p:cNvSpPr txBox="1">
            <a:spLocks/>
          </p:cNvSpPr>
          <p:nvPr/>
        </p:nvSpPr>
        <p:spPr>
          <a:xfrm>
            <a:off x="4038600" y="6411981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/>
              <a:t>© 2025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4371830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CF5E7CB-5E5C-4BD3-8786-92053BC7B7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CF5E7CB-5E5C-4BD3-8786-92053BC7B7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506926-81ED-4036-8291-EE3299F4AD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EA6E0-ACB3-C744-814F-68814E5220CF}" type="slidenum">
              <a:rPr lang="en-US" smtClean="0"/>
              <a:t>4</a:t>
            </a:fld>
            <a:endParaRPr lang="en-US" dirty="0"/>
          </a:p>
        </p:txBody>
      </p:sp>
      <p:pic>
        <p:nvPicPr>
          <p:cNvPr id="5" name="EC_EC_EC_EC_EC_EC_EC_EC_MA4.1203450201" descr="D6CDCC58-E1A2-4B46-A078-5E2FC5114963">
            <a:extLst>
              <a:ext uri="{FF2B5EF4-FFF2-40B4-BE49-F238E27FC236}">
                <a16:creationId xmlns:a16="http://schemas.microsoft.com/office/drawing/2014/main" id="{B53F5703-182A-40DC-98D9-A998FD6D9C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64936" y="702291"/>
            <a:ext cx="7323415" cy="5601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583DC38D-6374-FE5F-2A22-3E47CD925CA9}"/>
              </a:ext>
            </a:extLst>
          </p:cNvPr>
          <p:cNvSpPr txBox="1">
            <a:spLocks/>
          </p:cNvSpPr>
          <p:nvPr/>
        </p:nvSpPr>
        <p:spPr>
          <a:xfrm>
            <a:off x="4038600" y="6411981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/>
              <a:t>© 2025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85100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CF5E7CB-5E5C-4BD3-8786-92053BC7B7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CF5E7CB-5E5C-4BD3-8786-92053BC7B7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506926-81ED-4036-8291-EE3299F4AD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EA6E0-ACB3-C744-814F-68814E5220CF}" type="slidenum">
              <a:rPr lang="en-US" smtClean="0"/>
              <a:t>5</a:t>
            </a:fld>
            <a:endParaRPr lang="en-US" dirty="0"/>
          </a:p>
        </p:txBody>
      </p:sp>
      <p:pic>
        <p:nvPicPr>
          <p:cNvPr id="39945" name="Picture 9" descr="teal and orange space shuttle">
            <a:extLst>
              <a:ext uri="{FF2B5EF4-FFF2-40B4-BE49-F238E27FC236}">
                <a16:creationId xmlns:a16="http://schemas.microsoft.com/office/drawing/2014/main" id="{5C391ACA-2EF3-41BA-AA29-5FC1659F1A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8111" y="960909"/>
            <a:ext cx="6735778" cy="50448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 cmpd="thickThin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75B52292-DD9C-9C2E-AD73-FD3104BF4866}"/>
              </a:ext>
            </a:extLst>
          </p:cNvPr>
          <p:cNvSpPr txBox="1">
            <a:spLocks/>
          </p:cNvSpPr>
          <p:nvPr/>
        </p:nvSpPr>
        <p:spPr>
          <a:xfrm>
            <a:off x="4038600" y="6411981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/>
              <a:t>© 2025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23680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2DFCA1A-1778-47AF-80DD-F4273EFEEE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2DFCA1A-1778-47AF-80DD-F4273EFEE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80757A4-B520-46F2-B68C-5846AD973F3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CA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5D60F9-AB81-4DC0-9389-76F2701B6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EA6E0-ACB3-C744-814F-68814E5220CF}" type="slidenum">
              <a:rPr lang="en-US" smtClean="0"/>
              <a:t>6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E624911-F3FC-4B8A-9DD6-2573B5D158BC}"/>
              </a:ext>
            </a:extLst>
          </p:cNvPr>
          <p:cNvSpPr/>
          <p:nvPr/>
        </p:nvSpPr>
        <p:spPr>
          <a:xfrm>
            <a:off x="1776848" y="964504"/>
            <a:ext cx="8555064" cy="5479507"/>
          </a:xfrm>
          <a:prstGeom prst="rect">
            <a:avLst/>
          </a:prstGeom>
          <a:solidFill>
            <a:srgbClr val="FFFFFF"/>
          </a:solidFill>
          <a:ln w="15875">
            <a:solidFill>
              <a:srgbClr val="001E62"/>
            </a:solidFill>
          </a:ln>
          <a:effectLst>
            <a:outerShdw blurRad="50800" dist="35921" dir="2700002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CA" sz="1100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4A7FB9D-E14F-4503-86D4-6F3E17F887B6}"/>
              </a:ext>
            </a:extLst>
          </p:cNvPr>
          <p:cNvSpPr/>
          <p:nvPr/>
        </p:nvSpPr>
        <p:spPr>
          <a:xfrm>
            <a:off x="1818468" y="964504"/>
            <a:ext cx="8555064" cy="64325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b="1" dirty="0">
                <a:solidFill>
                  <a:srgbClr val="001E62"/>
                </a:solidFill>
              </a:rPr>
              <a:t>What have I done since selling the company?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Spreading the word / teaching</a:t>
            </a:r>
          </a:p>
          <a:p>
            <a:pPr marL="1257300" lvl="2" indent="-3429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tx1"/>
                </a:solidFill>
              </a:rPr>
              <a:t>Informal sessions at LBS, INSEAD, and IESE</a:t>
            </a:r>
          </a:p>
          <a:p>
            <a:pPr marL="1257300" lvl="2" indent="-3429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tx1"/>
                </a:solidFill>
              </a:rPr>
              <a:t>Chair of Advisory Board of SF Centre IESE</a:t>
            </a:r>
          </a:p>
          <a:p>
            <a:pPr marL="1257300" lvl="2" indent="-3429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tx1"/>
                </a:solidFill>
              </a:rPr>
              <a:t>Conference / events at Stanford &amp; IESE</a:t>
            </a:r>
          </a:p>
          <a:p>
            <a:pPr marL="1257300" lvl="2" indent="-3429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tx1"/>
                </a:solidFill>
              </a:rPr>
              <a:t>Lecture at LBS and Judge Business School</a:t>
            </a:r>
          </a:p>
          <a:p>
            <a:pPr marL="1257300" lvl="2" indent="-3429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tx1"/>
                </a:solidFill>
              </a:rPr>
              <a:t>Contributor to search fund textbook and papers</a:t>
            </a:r>
          </a:p>
          <a:p>
            <a:pPr marL="1257300" lvl="2" indent="-3429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tx1"/>
                </a:solidFill>
              </a:rPr>
              <a:t>Mentor and sit on various search fund company boards</a:t>
            </a:r>
          </a:p>
          <a:p>
            <a:pPr marL="1257300" lvl="2" indent="-3429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tx1"/>
                </a:solidFill>
              </a:rPr>
              <a:t>Shareholder and director at two major turnarounds (one losing £3m p.a. and the other losing £1.3m p.a.; both are now profitable)</a:t>
            </a:r>
          </a:p>
          <a:p>
            <a:pPr marL="1257300" lvl="2" indent="-342900">
              <a:spcAft>
                <a:spcPts val="1200"/>
              </a:spcAft>
              <a:buFont typeface="Courier New" panose="02070309020205020404" pitchFamily="49" charset="0"/>
              <a:buChar char="o"/>
            </a:pPr>
            <a:endParaRPr lang="en-US" sz="2400" dirty="0">
              <a:solidFill>
                <a:schemeClr val="tx1"/>
              </a:solidFill>
            </a:endParaRPr>
          </a:p>
          <a:p>
            <a:pPr marL="1257300" lvl="2" indent="-342900">
              <a:spcAft>
                <a:spcPts val="1200"/>
              </a:spcAft>
              <a:buFont typeface="Courier New" panose="02070309020205020404" pitchFamily="49" charset="0"/>
              <a:buChar char="o"/>
            </a:pP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D7BA991B-0A3C-A6C7-49B6-2BEDAD5903A3}"/>
              </a:ext>
            </a:extLst>
          </p:cNvPr>
          <p:cNvSpPr txBox="1">
            <a:spLocks/>
          </p:cNvSpPr>
          <p:nvPr/>
        </p:nvSpPr>
        <p:spPr>
          <a:xfrm>
            <a:off x="4038600" y="6438485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/>
              <a:t>© 2025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061283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537A54-531E-409B-A9AD-70E3EA716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537A54-531E-409B-A9AD-70E3EA716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C2B996-A99D-428D-81D6-988AA166126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CA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FE5ECF5-33F7-464E-8262-00D9895DD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EA6E0-ACB3-C744-814F-68814E5220CF}" type="slidenum">
              <a:rPr lang="en-US" smtClean="0"/>
              <a:t>7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0EE6F97-3DFD-4A73-B828-3DA05FB83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CA" dirty="0">
                <a:solidFill>
                  <a:srgbClr val="001E62"/>
                </a:solidFill>
                <a:latin typeface="+mn-lt"/>
                <a:ea typeface="+mn-ea"/>
                <a:cs typeface="+mn-cs"/>
              </a:rPr>
              <a:t>ETA alternatives</a:t>
            </a:r>
          </a:p>
        </p:txBody>
      </p:sp>
      <p:graphicFrame>
        <p:nvGraphicFramePr>
          <p:cNvPr id="7" name="Table 8">
            <a:extLst>
              <a:ext uri="{FF2B5EF4-FFF2-40B4-BE49-F238E27FC236}">
                <a16:creationId xmlns:a16="http://schemas.microsoft.com/office/drawing/2014/main" id="{C005CFB5-A658-9AE5-B927-614B8FFAAA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7158190"/>
              </p:ext>
            </p:extLst>
          </p:nvPr>
        </p:nvGraphicFramePr>
        <p:xfrm>
          <a:off x="914400" y="1033670"/>
          <a:ext cx="9448800" cy="53441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1823">
                  <a:extLst>
                    <a:ext uri="{9D8B030D-6E8A-4147-A177-3AD203B41FA5}">
                      <a16:colId xmlns:a16="http://schemas.microsoft.com/office/drawing/2014/main" val="1566739042"/>
                    </a:ext>
                  </a:extLst>
                </a:gridCol>
                <a:gridCol w="2598697">
                  <a:extLst>
                    <a:ext uri="{9D8B030D-6E8A-4147-A177-3AD203B41FA5}">
                      <a16:colId xmlns:a16="http://schemas.microsoft.com/office/drawing/2014/main" val="782542301"/>
                    </a:ext>
                  </a:extLst>
                </a:gridCol>
                <a:gridCol w="2529140">
                  <a:extLst>
                    <a:ext uri="{9D8B030D-6E8A-4147-A177-3AD203B41FA5}">
                      <a16:colId xmlns:a16="http://schemas.microsoft.com/office/drawing/2014/main" val="3717797144"/>
                    </a:ext>
                  </a:extLst>
                </a:gridCol>
                <a:gridCol w="2529140">
                  <a:extLst>
                    <a:ext uri="{9D8B030D-6E8A-4147-A177-3AD203B41FA5}">
                      <a16:colId xmlns:a16="http://schemas.microsoft.com/office/drawing/2014/main" val="1904100325"/>
                    </a:ext>
                  </a:extLst>
                </a:gridCol>
              </a:tblGrid>
              <a:tr h="491609">
                <a:tc>
                  <a:txBody>
                    <a:bodyPr/>
                    <a:lstStyle/>
                    <a:p>
                      <a:pPr algn="l" fontAlgn="t"/>
                      <a:endParaRPr lang="en-C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CA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Traditional Search Fund</a:t>
                      </a:r>
                      <a:endParaRPr lang="en-C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b"/>
                </a:tc>
                <a:tc>
                  <a:txBody>
                    <a:bodyPr/>
                    <a:lstStyle/>
                    <a:p>
                      <a:pPr algn="l" fontAlgn="t"/>
                      <a:endParaRPr lang="en-C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b"/>
                </a:tc>
                <a:tc>
                  <a:txBody>
                    <a:bodyPr/>
                    <a:lstStyle/>
                    <a:p>
                      <a:pPr algn="l" fontAlgn="t"/>
                      <a:endParaRPr lang="en-C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b"/>
                </a:tc>
                <a:extLst>
                  <a:ext uri="{0D108BD9-81ED-4DB2-BD59-A6C34878D82A}">
                    <a16:rowId xmlns:a16="http://schemas.microsoft.com/office/drawing/2014/main" val="343468251"/>
                  </a:ext>
                </a:extLst>
              </a:tr>
              <a:tr h="1645414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Stages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266700" lvl="0" indent="-180975" algn="l" fontAlgn="t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Fundraising</a:t>
                      </a:r>
                    </a:p>
                    <a:p>
                      <a:pPr marL="266700" lvl="0" indent="-180975" algn="l" fontAlgn="t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Searching</a:t>
                      </a:r>
                    </a:p>
                    <a:p>
                      <a:pPr marL="266700" lvl="0" indent="-180975" algn="l" fontAlgn="t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Acquisition and fundraising</a:t>
                      </a:r>
                    </a:p>
                    <a:p>
                      <a:pPr marL="266700" lvl="0" indent="-180975" algn="l" fontAlgn="t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Operating</a:t>
                      </a:r>
                    </a:p>
                    <a:p>
                      <a:pPr marL="266700" lvl="0" indent="-180975" algn="l" fontAlgn="t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Exi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endParaRPr lang="en-US" sz="16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endParaRPr lang="en-US" sz="16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2935277237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Number of Investors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indent="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c. 15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2996226303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Largest single investor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Searcher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2444835141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Searcher remuneration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c. 2/3rds of post-MBA average salary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4157051125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Searcher equity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25% (solo), 30% (partnerships) based on hurdle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1701482239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Step-up of search capital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50%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2828341269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Target business criteria?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 Searcher / investor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2896903315"/>
                  </a:ext>
                </a:extLst>
              </a:tr>
            </a:tbl>
          </a:graphicData>
        </a:graphic>
      </p:graphicFrame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5B919728-A96E-B050-F9F7-FD5CE91EFE4F}"/>
              </a:ext>
            </a:extLst>
          </p:cNvPr>
          <p:cNvSpPr txBox="1">
            <a:spLocks/>
          </p:cNvSpPr>
          <p:nvPr/>
        </p:nvSpPr>
        <p:spPr>
          <a:xfrm>
            <a:off x="4038600" y="6411981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/>
              <a:t>© 2025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060299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537A54-531E-409B-A9AD-70E3EA716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537A54-531E-409B-A9AD-70E3EA716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C2B996-A99D-428D-81D6-988AA166126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CA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FE5ECF5-33F7-464E-8262-00D9895DD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EA6E0-ACB3-C744-814F-68814E5220CF}" type="slidenum">
              <a:rPr lang="en-US" smtClean="0"/>
              <a:t>8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0EE6F97-3DFD-4A73-B828-3DA05FB83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CA" dirty="0">
                <a:solidFill>
                  <a:srgbClr val="001E62"/>
                </a:solidFill>
                <a:latin typeface="+mn-lt"/>
                <a:ea typeface="+mn-ea"/>
                <a:cs typeface="+mn-cs"/>
              </a:rPr>
              <a:t>ETA alternatives</a:t>
            </a:r>
          </a:p>
        </p:txBody>
      </p:sp>
      <p:graphicFrame>
        <p:nvGraphicFramePr>
          <p:cNvPr id="7" name="Table 8">
            <a:extLst>
              <a:ext uri="{FF2B5EF4-FFF2-40B4-BE49-F238E27FC236}">
                <a16:creationId xmlns:a16="http://schemas.microsoft.com/office/drawing/2014/main" id="{C005CFB5-A658-9AE5-B927-614B8FFAAA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4688911"/>
              </p:ext>
            </p:extLst>
          </p:nvPr>
        </p:nvGraphicFramePr>
        <p:xfrm>
          <a:off x="914400" y="1033670"/>
          <a:ext cx="9448800" cy="53441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1823">
                  <a:extLst>
                    <a:ext uri="{9D8B030D-6E8A-4147-A177-3AD203B41FA5}">
                      <a16:colId xmlns:a16="http://schemas.microsoft.com/office/drawing/2014/main" val="1566739042"/>
                    </a:ext>
                  </a:extLst>
                </a:gridCol>
                <a:gridCol w="2598697">
                  <a:extLst>
                    <a:ext uri="{9D8B030D-6E8A-4147-A177-3AD203B41FA5}">
                      <a16:colId xmlns:a16="http://schemas.microsoft.com/office/drawing/2014/main" val="782542301"/>
                    </a:ext>
                  </a:extLst>
                </a:gridCol>
                <a:gridCol w="2529140">
                  <a:extLst>
                    <a:ext uri="{9D8B030D-6E8A-4147-A177-3AD203B41FA5}">
                      <a16:colId xmlns:a16="http://schemas.microsoft.com/office/drawing/2014/main" val="3717797144"/>
                    </a:ext>
                  </a:extLst>
                </a:gridCol>
                <a:gridCol w="2529140">
                  <a:extLst>
                    <a:ext uri="{9D8B030D-6E8A-4147-A177-3AD203B41FA5}">
                      <a16:colId xmlns:a16="http://schemas.microsoft.com/office/drawing/2014/main" val="1904100325"/>
                    </a:ext>
                  </a:extLst>
                </a:gridCol>
              </a:tblGrid>
              <a:tr h="491609">
                <a:tc>
                  <a:txBody>
                    <a:bodyPr/>
                    <a:lstStyle/>
                    <a:p>
                      <a:pPr algn="l" fontAlgn="t"/>
                      <a:endParaRPr lang="en-C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CA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Traditional</a:t>
                      </a:r>
                      <a:endParaRPr lang="en-C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CA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lf-Funded Search</a:t>
                      </a:r>
                      <a:endParaRPr lang="en-C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b"/>
                </a:tc>
                <a:tc>
                  <a:txBody>
                    <a:bodyPr/>
                    <a:lstStyle/>
                    <a:p>
                      <a:pPr algn="l" fontAlgn="t"/>
                      <a:endParaRPr lang="en-C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b"/>
                </a:tc>
                <a:extLst>
                  <a:ext uri="{0D108BD9-81ED-4DB2-BD59-A6C34878D82A}">
                    <a16:rowId xmlns:a16="http://schemas.microsoft.com/office/drawing/2014/main" val="343468251"/>
                  </a:ext>
                </a:extLst>
              </a:tr>
              <a:tr h="1645414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Stages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266700" lvl="0" indent="-180975" algn="l" fontAlgn="t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Fundraising</a:t>
                      </a:r>
                    </a:p>
                    <a:p>
                      <a:pPr marL="266700" lvl="0" indent="-180975" algn="l" fontAlgn="t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Searching</a:t>
                      </a:r>
                    </a:p>
                    <a:p>
                      <a:pPr marL="266700" lvl="0" indent="-180975" algn="l" fontAlgn="t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Acquisition and fundraising</a:t>
                      </a:r>
                    </a:p>
                    <a:p>
                      <a:pPr marL="266700" lvl="0" indent="-180975" algn="l" fontAlgn="t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Operating</a:t>
                      </a:r>
                    </a:p>
                    <a:p>
                      <a:pPr marL="266700" lvl="0" indent="-180975" algn="l" fontAlgn="t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Exi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arching</a:t>
                      </a:r>
                    </a:p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quisition</a:t>
                      </a:r>
                    </a:p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NDRAISING</a:t>
                      </a:r>
                    </a:p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ng</a:t>
                      </a:r>
                    </a:p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it</a:t>
                      </a: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endParaRPr lang="en-US" sz="16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2935277237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Number of Investors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indent="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c. 15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c. 4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2996226303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Largest single investor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Searcher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Searcher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2444835141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Searcher remuneration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c. 2/3rds of post-MBA average salary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None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4157051125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Searcher equity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25% (solo), 30% (partnerships) based on hurdle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More flexible, often between 50% and 7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1701482239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Step-up of search capital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50%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No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2828341269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Target business criteria?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 Searcher / investor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 Searcher / size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2896903315"/>
                  </a:ext>
                </a:extLst>
              </a:tr>
            </a:tbl>
          </a:graphicData>
        </a:graphic>
      </p:graphicFrame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B0E26EA2-198D-C41F-1429-5B97FB6A2C39}"/>
              </a:ext>
            </a:extLst>
          </p:cNvPr>
          <p:cNvSpPr txBox="1">
            <a:spLocks/>
          </p:cNvSpPr>
          <p:nvPr/>
        </p:nvSpPr>
        <p:spPr>
          <a:xfrm>
            <a:off x="4038600" y="6411981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/>
              <a:t>© 2025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044464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537A54-531E-409B-A9AD-70E3EA716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537A54-531E-409B-A9AD-70E3EA716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C2B996-A99D-428D-81D6-988AA166126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CA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FE5ECF5-33F7-464E-8262-00D9895DD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EA6E0-ACB3-C744-814F-68814E5220CF}" type="slidenum">
              <a:rPr lang="en-US" smtClean="0"/>
              <a:t>9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0EE6F97-3DFD-4A73-B828-3DA05FB83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CA" dirty="0">
                <a:solidFill>
                  <a:srgbClr val="001E62"/>
                </a:solidFill>
                <a:latin typeface="+mn-lt"/>
                <a:ea typeface="+mn-ea"/>
                <a:cs typeface="+mn-cs"/>
              </a:rPr>
              <a:t>ETA alternatives</a:t>
            </a:r>
          </a:p>
        </p:txBody>
      </p:sp>
      <p:graphicFrame>
        <p:nvGraphicFramePr>
          <p:cNvPr id="7" name="Table 8">
            <a:extLst>
              <a:ext uri="{FF2B5EF4-FFF2-40B4-BE49-F238E27FC236}">
                <a16:creationId xmlns:a16="http://schemas.microsoft.com/office/drawing/2014/main" id="{C005CFB5-A658-9AE5-B927-614B8FFAAA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1025589"/>
              </p:ext>
            </p:extLst>
          </p:nvPr>
        </p:nvGraphicFramePr>
        <p:xfrm>
          <a:off x="914400" y="1033670"/>
          <a:ext cx="9448800" cy="53441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1823">
                  <a:extLst>
                    <a:ext uri="{9D8B030D-6E8A-4147-A177-3AD203B41FA5}">
                      <a16:colId xmlns:a16="http://schemas.microsoft.com/office/drawing/2014/main" val="1566739042"/>
                    </a:ext>
                  </a:extLst>
                </a:gridCol>
                <a:gridCol w="2598697">
                  <a:extLst>
                    <a:ext uri="{9D8B030D-6E8A-4147-A177-3AD203B41FA5}">
                      <a16:colId xmlns:a16="http://schemas.microsoft.com/office/drawing/2014/main" val="782542301"/>
                    </a:ext>
                  </a:extLst>
                </a:gridCol>
                <a:gridCol w="2529140">
                  <a:extLst>
                    <a:ext uri="{9D8B030D-6E8A-4147-A177-3AD203B41FA5}">
                      <a16:colId xmlns:a16="http://schemas.microsoft.com/office/drawing/2014/main" val="3717797144"/>
                    </a:ext>
                  </a:extLst>
                </a:gridCol>
                <a:gridCol w="2529140">
                  <a:extLst>
                    <a:ext uri="{9D8B030D-6E8A-4147-A177-3AD203B41FA5}">
                      <a16:colId xmlns:a16="http://schemas.microsoft.com/office/drawing/2014/main" val="1904100325"/>
                    </a:ext>
                  </a:extLst>
                </a:gridCol>
              </a:tblGrid>
              <a:tr h="491609">
                <a:tc>
                  <a:txBody>
                    <a:bodyPr/>
                    <a:lstStyle/>
                    <a:p>
                      <a:pPr algn="l" fontAlgn="t"/>
                      <a:endParaRPr lang="en-C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CA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Traditional SF</a:t>
                      </a:r>
                      <a:endParaRPr lang="en-C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CA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lf-Funded Search</a:t>
                      </a:r>
                      <a:endParaRPr lang="en-C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CA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ponsor-backed Search</a:t>
                      </a:r>
                      <a:endParaRPr lang="en-C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b"/>
                </a:tc>
                <a:extLst>
                  <a:ext uri="{0D108BD9-81ED-4DB2-BD59-A6C34878D82A}">
                    <a16:rowId xmlns:a16="http://schemas.microsoft.com/office/drawing/2014/main" val="343468251"/>
                  </a:ext>
                </a:extLst>
              </a:tr>
              <a:tr h="1645414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Stages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266700" lvl="0" indent="-180975" algn="l" fontAlgn="t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Fundraising</a:t>
                      </a:r>
                    </a:p>
                    <a:p>
                      <a:pPr marL="266700" lvl="0" indent="-180975" algn="l" fontAlgn="t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Searching</a:t>
                      </a:r>
                    </a:p>
                    <a:p>
                      <a:pPr marL="266700" lvl="0" indent="-180975" algn="l" fontAlgn="t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Acquisition and fundraising</a:t>
                      </a:r>
                    </a:p>
                    <a:p>
                      <a:pPr marL="266700" lvl="0" indent="-180975" algn="l" fontAlgn="t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Operating</a:t>
                      </a:r>
                    </a:p>
                    <a:p>
                      <a:pPr marL="266700" lvl="0" indent="-180975" algn="l" fontAlgn="t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Exi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arching</a:t>
                      </a:r>
                    </a:p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quisition</a:t>
                      </a:r>
                    </a:p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NDRAISING</a:t>
                      </a:r>
                    </a:p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ng</a:t>
                      </a:r>
                    </a:p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it</a:t>
                      </a: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ding sponsor &amp; terms</a:t>
                      </a:r>
                    </a:p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arching</a:t>
                      </a:r>
                    </a:p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quisition and fundraising</a:t>
                      </a:r>
                    </a:p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ng</a:t>
                      </a:r>
                    </a:p>
                    <a:p>
                      <a:pPr marL="266700" lvl="0" indent="-180975" algn="l" defTabSz="685749" rtl="0" eaLnBrk="1" fontAlgn="t" latinLnBrk="0" hangingPunct="1">
                        <a:lnSpc>
                          <a:spcPct val="13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it</a:t>
                      </a: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2935277237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Number of Investors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indent="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c. 15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c. 4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1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2996226303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Largest single investor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Searcher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Searcher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Sponsor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2444835141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Searcher remuneration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c. 2/3rds of post-MBA average salary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None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Yes, agreed with sponsor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4157051125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Searcher equity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25% (solo), 30% (partnerships) based on hurdle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More flexible, often between 50% and 7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Yes, agreed with sponsor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1701482239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Step-up of search capital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50%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No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Maybe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2828341269"/>
                  </a:ext>
                </a:extLst>
              </a:tr>
              <a:tr h="49160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600" b="1" u="none" strike="noStrike" dirty="0">
                          <a:effectLst/>
                          <a:latin typeface="+mn-lt"/>
                        </a:rPr>
                        <a:t>Target business criteria?</a:t>
                      </a:r>
                      <a:endParaRPr lang="en-CA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 Searcher / investor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 Searcher / size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tc>
                  <a:txBody>
                    <a:bodyPr/>
                    <a:lstStyle/>
                    <a:p>
                      <a:pPr marL="86400" algn="l" fontAlgn="t"/>
                      <a:r>
                        <a:rPr lang="en-CA" sz="1600" u="none" strike="noStrike" dirty="0">
                          <a:effectLst/>
                          <a:latin typeface="+mn-lt"/>
                        </a:rPr>
                        <a:t> Sponsor dependent</a:t>
                      </a:r>
                      <a:endParaRPr lang="en-CA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662" marR="6662" marT="6662" marB="0" anchor="ctr"/>
                </a:tc>
                <a:extLst>
                  <a:ext uri="{0D108BD9-81ED-4DB2-BD59-A6C34878D82A}">
                    <a16:rowId xmlns:a16="http://schemas.microsoft.com/office/drawing/2014/main" val="2896903315"/>
                  </a:ext>
                </a:extLst>
              </a:tr>
            </a:tbl>
          </a:graphicData>
        </a:graphic>
      </p:graphicFrame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986CBF4E-653A-A54E-A0B0-5BB79D43F05D}"/>
              </a:ext>
            </a:extLst>
          </p:cNvPr>
          <p:cNvSpPr txBox="1">
            <a:spLocks/>
          </p:cNvSpPr>
          <p:nvPr/>
        </p:nvSpPr>
        <p:spPr>
          <a:xfrm>
            <a:off x="4038600" y="6411981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/>
              <a:t>© 2025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82742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e0dZ5mELS3MwqZZRDb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e0dZ5mELS3MwqZZRDbt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e0dZ5mELS3MwqZZRDb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YrT3Vct2NkoteXIIFl8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YrT3Vct2NkoteXIIFl8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YrT3Vct2NkoteXIIFl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56</Words>
  <Application>Microsoft Office PowerPoint</Application>
  <PresentationFormat>Widescreen</PresentationFormat>
  <Paragraphs>164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ptos</vt:lpstr>
      <vt:lpstr>Arial</vt:lpstr>
      <vt:lpstr>Calibri</vt:lpstr>
      <vt:lpstr>Calibri Light</vt:lpstr>
      <vt:lpstr>Courier New</vt:lpstr>
      <vt:lpstr>Office Theme</vt:lpstr>
      <vt:lpstr>think-cell Slide</vt:lpstr>
      <vt:lpstr>The CFN - The World of ET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TA alternatives</vt:lpstr>
      <vt:lpstr>ETA alternatives</vt:lpstr>
      <vt:lpstr>ETA alternatives</vt:lpstr>
      <vt:lpstr>PowerPoint Presentation</vt:lpstr>
      <vt:lpstr>Growth…</vt:lpstr>
      <vt:lpstr>Searcher backgrounds</vt:lpstr>
      <vt:lpstr>Retur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mon Webster</dc:creator>
  <cp:lastModifiedBy>Kirsty McGregor</cp:lastModifiedBy>
  <cp:revision>12</cp:revision>
  <dcterms:created xsi:type="dcterms:W3CDTF">2025-09-14T15:24:50Z</dcterms:created>
  <dcterms:modified xsi:type="dcterms:W3CDTF">2025-09-24T10:04:59Z</dcterms:modified>
</cp:coreProperties>
</file>